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4"/>
    <p:sldMasterId id="2147483670" r:id="rId5"/>
  </p:sldMasterIdLst>
  <p:notesMasterIdLst>
    <p:notesMasterId r:id="rId33"/>
  </p:notesMasterIdLst>
  <p:handoutMasterIdLst>
    <p:handoutMasterId r:id="rId34"/>
  </p:handoutMasterIdLst>
  <p:sldIdLst>
    <p:sldId id="265" r:id="rId6"/>
    <p:sldId id="259" r:id="rId7"/>
    <p:sldId id="281" r:id="rId8"/>
    <p:sldId id="392" r:id="rId9"/>
    <p:sldId id="391" r:id="rId10"/>
    <p:sldId id="393" r:id="rId11"/>
    <p:sldId id="390" r:id="rId12"/>
    <p:sldId id="394" r:id="rId13"/>
    <p:sldId id="395" r:id="rId14"/>
    <p:sldId id="396" r:id="rId15"/>
    <p:sldId id="372" r:id="rId16"/>
    <p:sldId id="397" r:id="rId17"/>
    <p:sldId id="399" r:id="rId18"/>
    <p:sldId id="400" r:id="rId19"/>
    <p:sldId id="401" r:id="rId20"/>
    <p:sldId id="402" r:id="rId21"/>
    <p:sldId id="403" r:id="rId22"/>
    <p:sldId id="404" r:id="rId23"/>
    <p:sldId id="405" r:id="rId24"/>
    <p:sldId id="406" r:id="rId25"/>
    <p:sldId id="407" r:id="rId26"/>
    <p:sldId id="408" r:id="rId27"/>
    <p:sldId id="409" r:id="rId28"/>
    <p:sldId id="410" r:id="rId29"/>
    <p:sldId id="411" r:id="rId30"/>
    <p:sldId id="412" r:id="rId31"/>
    <p:sldId id="413" r:id="rId3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78" autoAdjust="0"/>
    <p:restoredTop sz="98814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632" y="225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AngularJS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					Introduction to Angular JS 				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Page 01 - 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31254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23566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64883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00289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21907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32330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13443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9668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20400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64548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86130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511308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63872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98754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121164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395439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27753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672766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62448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2756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8336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6736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27186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86133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02302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63491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Mobile first approach uses the grid system in particular is to layout designs first on small screens, such as those that come on a mobile phone and then it can be scaled up the size of those designs to larger and larger environments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Candara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ndara" pitchFamily="34" charset="0"/>
              </a:rPr>
              <a:t>Prior to Bootstrap 3 It doesn't support mobile first approach and as a optional feature it supports Responsive web design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69846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2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5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96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9971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777203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932155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445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50878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03558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24598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06294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08219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1576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5471374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165807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851956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9415493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408748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208312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3068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3070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60181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211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585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23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065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123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002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877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ags" Target="../tags/tag1.xml"/><Relationship Id="rId29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ags" Target="../tags/tag4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21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0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13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982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Bootstrap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>
                <a:solidFill>
                  <a:schemeClr val="tx1"/>
                </a:solidFill>
              </a:rPr>
              <a:t>Bootstrap </a:t>
            </a:r>
            <a:r>
              <a:rPr lang="en-US" sz="2000" b="0" dirty="0" err="1" smtClean="0">
                <a:solidFill>
                  <a:schemeClr val="tx1"/>
                </a:solidFill>
              </a:rPr>
              <a:t>Plugins</a:t>
            </a:r>
            <a:endParaRPr lang="en-US" sz="20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Modal Plug-in Event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362857" y="1144134"/>
          <a:ext cx="8519886" cy="4835751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943132"/>
                <a:gridCol w="3484089"/>
                <a:gridCol w="3092665"/>
              </a:tblGrid>
              <a:tr h="30395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vent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xampl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ctr">
                    <a:solidFill>
                      <a:schemeClr val="tx1"/>
                    </a:solidFill>
                  </a:tcPr>
                </a:tc>
              </a:tr>
              <a:tr h="103137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.bs.modal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Fired after the show method is called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400" u="none" strike="noStrike" dirty="0" err="1">
                          <a:latin typeface="Candara" pitchFamily="34" charset="0"/>
                        </a:rPr>
                        <a:t>show.bs.modal</a:t>
                      </a:r>
                      <a:r>
                        <a:rPr lang="en-US" sz="1400" u="none" strike="noStrike" dirty="0">
                          <a:latin typeface="Candara" pitchFamily="34" charset="0"/>
                        </a:rPr>
                        <a:t>', function () {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  // do something…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</a:tr>
              <a:tr h="103992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n.bs.modal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Fired when the modal has been made visible to the user (will wait for CSS transitions to complete)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400" u="none" strike="noStrike" dirty="0" err="1">
                          <a:latin typeface="Candara" pitchFamily="34" charset="0"/>
                        </a:rPr>
                        <a:t>shown.bs.modal</a:t>
                      </a:r>
                      <a:r>
                        <a:rPr lang="en-US" sz="1400" u="none" strike="noStrike" dirty="0">
                          <a:latin typeface="Candara" pitchFamily="34" charset="0"/>
                        </a:rPr>
                        <a:t>', function () {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  // do something…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</a:tr>
              <a:tr h="122380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hide.bs.modal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Fired when the hide instance method has been called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400" u="none" strike="noStrike" dirty="0" err="1">
                          <a:latin typeface="Candara" pitchFamily="34" charset="0"/>
                        </a:rPr>
                        <a:t>hide.bs.modal</a:t>
                      </a:r>
                      <a:r>
                        <a:rPr lang="en-US" sz="1400" u="none" strike="noStrike" dirty="0">
                          <a:latin typeface="Candara" pitchFamily="34" charset="0"/>
                        </a:rPr>
                        <a:t>', function () {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  // do something…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</a:tr>
              <a:tr h="123670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hidden.bs.modal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Fired when the modal has finished being hidden from the user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400" u="none" strike="noStrike" dirty="0" err="1">
                          <a:latin typeface="Candara" pitchFamily="34" charset="0"/>
                        </a:rPr>
                        <a:t>hidden.bs.modal</a:t>
                      </a:r>
                      <a:r>
                        <a:rPr lang="en-US" sz="1400" u="none" strike="noStrike" dirty="0">
                          <a:latin typeface="Candara" pitchFamily="34" charset="0"/>
                        </a:rPr>
                        <a:t>', function () {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  // do something…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343" marR="8343" marT="8343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Modal-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arousel Plug-i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 Carousel gives you a picture Carousel that can cycle through a series of image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arousel works best when all of the images have the same resolution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arousel  can also have a caption inside of each item that typically consists of some header text and some additional text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can set the  interval to how frequently to swap the pictures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can also control the carousel using user pause, previous and next button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include this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 functionality individually we need carousel.js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 Carousel Plug-in option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35430" y="1088572"/>
          <a:ext cx="8490856" cy="5021940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832828"/>
                <a:gridCol w="1832828"/>
                <a:gridCol w="1870232"/>
                <a:gridCol w="2954968"/>
              </a:tblGrid>
              <a:tr h="46370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Option Nam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fault Value</a:t>
                      </a:r>
                      <a:endParaRPr lang="en-US" sz="1800" b="1" i="0" u="none" strike="noStrike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ata attribute</a:t>
                      </a:r>
                      <a:endParaRPr lang="en-US" sz="1800" b="1" i="0" u="none" strike="noStrike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</a:tr>
              <a:tr h="463706"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interval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number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data-interval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he amount of time to delay between automatically cycling an item. If false, carousel will not automatically cycle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19172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efault: 5000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63706"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paus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string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data-paus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Pauses the cycling of the carousel on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mouseenter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and resumes the cycling of the carousel on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mouseleave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19172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efault: "hover"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63706"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wrap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boolean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ata-wrap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Whether the carousel should cycle continuously or have hard stops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78366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efault: true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arousel Plug-in method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275770" y="1219201"/>
          <a:ext cx="8665030" cy="4534796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2148116"/>
                <a:gridCol w="2801257"/>
                <a:gridCol w="3715657"/>
              </a:tblGrid>
              <a:tr h="4113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Method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xampl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ctr">
                    <a:solidFill>
                      <a:schemeClr val="tx1"/>
                    </a:solidFill>
                  </a:tcPr>
                </a:tc>
              </a:tr>
              <a:tr h="117065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.carousel(options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Initializes the carousel with an optional options object and starts cycling through items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carousel({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interval: 2000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</a:tr>
              <a:tr h="6788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.carousel('cycle'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Cycles through the carousel items from left to right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carousel('cycle'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</a:tr>
              <a:tr h="6788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.carousel('pause'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Stops the carousel from cycling through items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.carousel('pause'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</a:tr>
              <a:tr h="6788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.carousel(number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Cycles the carousel to a particular frame (0 based, similar to an array)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carousel(number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</a:tr>
              <a:tr h="38260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.carousel('prev'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Cycles to the previous item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carousel('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prev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'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</a:tr>
              <a:tr h="38260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.carousel('next'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Cycles to the next item.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carousel('next'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59" marR="6959" marT="6959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arousel Plug-in Event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348341" y="1378858"/>
          <a:ext cx="8316687" cy="3948210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959430"/>
                <a:gridCol w="2743200"/>
                <a:gridCol w="3614057"/>
              </a:tblGrid>
              <a:tr h="40574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vent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xampl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ctr">
                    <a:solidFill>
                      <a:schemeClr val="tx1"/>
                    </a:solidFill>
                  </a:tcPr>
                </a:tc>
              </a:tr>
              <a:tr h="15827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slide.bs.carousel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his event fires immediately when the slide instance method is invoked.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slide.bs.carousel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', function () {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// do something…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</a:tr>
              <a:tr h="195975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slid.bs.carousel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his event is fired when the carousel has completed its slide transition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slid.bs.carousel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', function () {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// do something…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Carousel Plug-in 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ollapse Plug-i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ollapse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 makes it easy to make collapsing divisions of the pag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t is used to create collapsible groups or accordion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data-toggle="collapse" </a:t>
            </a:r>
            <a:r>
              <a:rPr lang="en-US" dirty="0" smtClean="0">
                <a:solidFill>
                  <a:schemeClr val="tx1"/>
                </a:solidFill>
              </a:rPr>
              <a:t>is added to the link on which we click to expand or collapse the component.</a:t>
            </a:r>
          </a:p>
          <a:p>
            <a:pPr lvl="1" algn="just">
              <a:lnSpc>
                <a:spcPct val="170000"/>
              </a:lnSpc>
            </a:pPr>
            <a:r>
              <a:rPr lang="en-US" b="1" dirty="0" err="1" smtClean="0">
                <a:solidFill>
                  <a:schemeClr val="tx1"/>
                </a:solidFill>
              </a:rPr>
              <a:t>href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or a</a:t>
            </a:r>
            <a:r>
              <a:rPr lang="en-US" b="1" dirty="0" smtClean="0">
                <a:solidFill>
                  <a:schemeClr val="tx1"/>
                </a:solidFill>
              </a:rPr>
              <a:t> data-target attribute</a:t>
            </a:r>
            <a:r>
              <a:rPr lang="en-US" dirty="0" smtClean="0">
                <a:solidFill>
                  <a:schemeClr val="tx1"/>
                </a:solidFill>
              </a:rPr>
              <a:t> is added to the parent component, whose value is id of the child component.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data-parent</a:t>
            </a:r>
            <a:r>
              <a:rPr lang="en-US" dirty="0" smtClean="0">
                <a:solidFill>
                  <a:schemeClr val="tx1"/>
                </a:solidFill>
              </a:rPr>
              <a:t> attribute is added to is added for creating accordion like effect.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.collapse </a:t>
            </a:r>
            <a:r>
              <a:rPr lang="en-US" dirty="0" smtClean="0">
                <a:solidFill>
                  <a:schemeClr val="tx1"/>
                </a:solidFill>
              </a:rPr>
              <a:t>class is used to hide the content  and </a:t>
            </a:r>
            <a:r>
              <a:rPr lang="en-US" b="1" i="1" dirty="0" smtClean="0">
                <a:solidFill>
                  <a:schemeClr val="tx1"/>
                </a:solidFill>
              </a:rPr>
              <a:t>.</a:t>
            </a:r>
            <a:r>
              <a:rPr lang="en-US" b="1" i="1" dirty="0" err="1" smtClean="0">
                <a:solidFill>
                  <a:schemeClr val="tx1"/>
                </a:solidFill>
              </a:rPr>
              <a:t>collapse.in</a:t>
            </a:r>
            <a:r>
              <a:rPr lang="en-US" b="1" i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 class is used to show the content</a:t>
            </a:r>
            <a:endParaRPr lang="en-US" b="1" i="1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include this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 functionality individually we need to use collapse.js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 </a:t>
            </a:r>
            <a:r>
              <a:rPr lang="en-US" dirty="0" err="1" smtClean="0"/>
              <a:t>CollapsePlug</a:t>
            </a:r>
            <a:r>
              <a:rPr lang="en-US" dirty="0" smtClean="0"/>
              <a:t>-in option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4448177"/>
              </p:ext>
            </p:extLst>
          </p:nvPr>
        </p:nvGraphicFramePr>
        <p:xfrm>
          <a:off x="576073" y="1261871"/>
          <a:ext cx="8219583" cy="480974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233655"/>
                <a:gridCol w="1318635"/>
                <a:gridCol w="1579019"/>
                <a:gridCol w="4088274"/>
              </a:tblGrid>
              <a:tr h="10233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Option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fault Value</a:t>
                      </a:r>
                      <a:endParaRPr lang="en-US" sz="1800" b="1" i="0" u="none" strike="noStrike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ata attribut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1"/>
                    </a:solidFill>
                  </a:tcPr>
                </a:tc>
              </a:tr>
              <a:tr h="511675"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parent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selector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ata-parent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If selector then all collapsible elements under the specified parent will be closed when this collapsible item is shown. (similar to traditional accordion behavior - this dependent on the accordion-group class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</a:tr>
              <a:tr h="17396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efault: false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11675"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toggl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boolean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ata-toggl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oggles the collapsible element on invocation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</a:tr>
              <a:tr h="10233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efault: true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CollapsePlug</a:t>
            </a:r>
            <a:r>
              <a:rPr lang="en-US" dirty="0" smtClean="0"/>
              <a:t>-in method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3361640"/>
              </p:ext>
            </p:extLst>
          </p:nvPr>
        </p:nvGraphicFramePr>
        <p:xfrm>
          <a:off x="478971" y="1146628"/>
          <a:ext cx="8331201" cy="4991888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2670629"/>
                <a:gridCol w="2438400"/>
                <a:gridCol w="3222172"/>
              </a:tblGrid>
              <a:tr h="68950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Method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xampl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ctr">
                    <a:solidFill>
                      <a:schemeClr val="tx1"/>
                    </a:solidFill>
                  </a:tcPr>
                </a:tc>
              </a:tr>
              <a:tr h="1663428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Options: .collapse(options)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Activates your content as a collapsible element. Accepts an optional options object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collapse({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toggle: false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</a:tr>
              <a:tr h="1248005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Toggle: .collapse('toggle')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oggles a collapsible element to shown or hidden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collapse('toggle'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</a:tr>
              <a:tr h="69547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Show: .collapse('show')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Shows a collapsible element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collapse('show'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</a:tr>
              <a:tr h="69547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Hide: .collapse('hide')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Hides a collapsible element.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#identifier').collapse('hide'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071" marR="9071" marT="9071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216152"/>
            <a:ext cx="6793764" cy="492236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304799" y="1042761"/>
            <a:ext cx="624114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rgbClr val="00B0F0"/>
              </a:buClr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b="1" dirty="0" smtClean="0">
                <a:latin typeface="Candara" panose="020E0502030303020204" pitchFamily="34" charset="0"/>
              </a:rPr>
              <a:t>Working </a:t>
            </a:r>
            <a:r>
              <a:rPr lang="en-US" b="1" dirty="0" smtClean="0">
                <a:latin typeface="Candara" panose="020E0502030303020204" pitchFamily="34" charset="0"/>
              </a:rPr>
              <a:t>with jQuery Plugins</a:t>
            </a:r>
          </a:p>
          <a:p>
            <a:pPr marL="225425" indent="-225425">
              <a:buClr>
                <a:srgbClr val="00B0F0"/>
              </a:buClr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sz="1200" dirty="0" smtClean="0">
              <a:latin typeface="Candara" panose="020E05020303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ollapse Plug-in Event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0228096"/>
              </p:ext>
            </p:extLst>
          </p:nvPr>
        </p:nvGraphicFramePr>
        <p:xfrm>
          <a:off x="391886" y="1161140"/>
          <a:ext cx="8447314" cy="4977376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944914"/>
                <a:gridCol w="3367314"/>
                <a:gridCol w="3135086"/>
              </a:tblGrid>
              <a:tr h="2996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vent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xampl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ctr">
                    <a:solidFill>
                      <a:schemeClr val="tx1"/>
                    </a:solidFill>
                  </a:tcPr>
                </a:tc>
              </a:tr>
              <a:tr h="1167942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.bs.collaps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Fired after the show method is called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400" u="none" strike="noStrike" dirty="0" err="1">
                          <a:latin typeface="Candara" pitchFamily="34" charset="0"/>
                        </a:rPr>
                        <a:t>show.bs.collapse</a:t>
                      </a:r>
                      <a:r>
                        <a:rPr lang="en-US" sz="1400" u="none" strike="noStrike" dirty="0">
                          <a:latin typeface="Candara" pitchFamily="34" charset="0"/>
                        </a:rPr>
                        <a:t>', function () {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  // do something…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</a:tr>
              <a:tr h="1170946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n.bs.collaps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his event is fired when a collapse element has been made visible to the user (will wait for CSS transitions to complete)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400" u="none" strike="noStrike" dirty="0" err="1">
                          <a:latin typeface="Candara" pitchFamily="34" charset="0"/>
                        </a:rPr>
                        <a:t>shown.bs.collapse</a:t>
                      </a:r>
                      <a:r>
                        <a:rPr lang="en-US" sz="1400" u="none" strike="noStrike" dirty="0">
                          <a:latin typeface="Candara" pitchFamily="34" charset="0"/>
                        </a:rPr>
                        <a:t>', function () {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  // do something…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</a:tr>
              <a:tr h="1167942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hide.bs.collaps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Fired when the hide instance method has been called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400" u="none" strike="noStrike" dirty="0" err="1">
                          <a:latin typeface="Candara" pitchFamily="34" charset="0"/>
                        </a:rPr>
                        <a:t>hide.bs.collapse</a:t>
                      </a:r>
                      <a:r>
                        <a:rPr lang="en-US" sz="1400" u="none" strike="noStrike" dirty="0">
                          <a:latin typeface="Candara" pitchFamily="34" charset="0"/>
                        </a:rPr>
                        <a:t>', function () {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  // do something…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</a:tr>
              <a:tr h="1170946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hidden.bs.collaps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his event is fired when a collapse element has been hidden from the user (will wait for CSS transitions to complete)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$('#identifier').on('</a:t>
                      </a:r>
                      <a:r>
                        <a:rPr lang="en-US" sz="1400" u="none" strike="noStrike" dirty="0" err="1">
                          <a:latin typeface="Candara" pitchFamily="34" charset="0"/>
                        </a:rPr>
                        <a:t>hidden.bs.collapse</a:t>
                      </a:r>
                      <a:r>
                        <a:rPr lang="en-US" sz="1400" u="none" strike="noStrike" dirty="0">
                          <a:latin typeface="Candara" pitchFamily="34" charset="0"/>
                        </a:rPr>
                        <a:t>', function () {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  // do something…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8643" marR="8643" marT="8643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Collapsible-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ab Plug-i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abs are used to arrange a navigational menu with links to other pages or sections of the sit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ing Tab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, we can transition through panes of local content in tabs or pills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ing the .</a:t>
            </a:r>
            <a:r>
              <a:rPr lang="en-US" i="1" dirty="0" err="1" smtClean="0">
                <a:solidFill>
                  <a:schemeClr val="tx1"/>
                </a:solidFill>
              </a:rPr>
              <a:t>nav</a:t>
            </a:r>
            <a:r>
              <a:rPr lang="en-US" dirty="0" smtClean="0">
                <a:solidFill>
                  <a:schemeClr val="tx1"/>
                </a:solidFill>
              </a:rPr>
              <a:t> and .</a:t>
            </a:r>
            <a:r>
              <a:rPr lang="en-US" i="1" dirty="0" err="1" smtClean="0">
                <a:solidFill>
                  <a:schemeClr val="tx1"/>
                </a:solidFill>
              </a:rPr>
              <a:t>nav</a:t>
            </a:r>
            <a:r>
              <a:rPr lang="en-US" i="1" dirty="0" smtClean="0">
                <a:solidFill>
                  <a:schemeClr val="tx1"/>
                </a:solidFill>
              </a:rPr>
              <a:t>-tabs</a:t>
            </a:r>
            <a:r>
              <a:rPr lang="en-US" dirty="0" smtClean="0">
                <a:solidFill>
                  <a:schemeClr val="tx1"/>
                </a:solidFill>
              </a:rPr>
              <a:t> classes to the tab </a:t>
            </a:r>
            <a:r>
              <a:rPr lang="en-US" dirty="0" err="1" smtClean="0">
                <a:solidFill>
                  <a:schemeClr val="tx1"/>
                </a:solidFill>
              </a:rPr>
              <a:t>ul</a:t>
            </a:r>
            <a:r>
              <a:rPr lang="en-US" dirty="0" smtClean="0">
                <a:solidFill>
                  <a:schemeClr val="tx1"/>
                </a:solidFill>
              </a:rPr>
              <a:t> will apply the Bootstrap tab styling, while adding the .</a:t>
            </a:r>
            <a:r>
              <a:rPr lang="en-US" i="1" dirty="0" err="1" smtClean="0">
                <a:solidFill>
                  <a:schemeClr val="tx1"/>
                </a:solidFill>
              </a:rPr>
              <a:t>nav</a:t>
            </a:r>
            <a:r>
              <a:rPr lang="en-US" dirty="0" smtClean="0">
                <a:solidFill>
                  <a:schemeClr val="tx1"/>
                </a:solidFill>
              </a:rPr>
              <a:t> and .</a:t>
            </a:r>
            <a:r>
              <a:rPr lang="en-US" i="1" dirty="0" err="1" smtClean="0">
                <a:solidFill>
                  <a:schemeClr val="tx1"/>
                </a:solidFill>
              </a:rPr>
              <a:t>nav</a:t>
            </a:r>
            <a:r>
              <a:rPr lang="en-US" i="1" dirty="0" smtClean="0">
                <a:solidFill>
                  <a:schemeClr val="tx1"/>
                </a:solidFill>
              </a:rPr>
              <a:t>-pills</a:t>
            </a:r>
            <a:r>
              <a:rPr lang="en-US" dirty="0" smtClean="0">
                <a:solidFill>
                  <a:schemeClr val="tx1"/>
                </a:solidFill>
              </a:rPr>
              <a:t> classes will apply pill styling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.tab() method activates a tab element and content container. Tab should have either a data-target or an </a:t>
            </a:r>
            <a:r>
              <a:rPr lang="en-US" dirty="0" err="1" smtClean="0">
                <a:solidFill>
                  <a:schemeClr val="tx1"/>
                </a:solidFill>
              </a:rPr>
              <a:t>href</a:t>
            </a:r>
            <a:r>
              <a:rPr lang="en-US" dirty="0" smtClean="0">
                <a:solidFill>
                  <a:schemeClr val="tx1"/>
                </a:solidFill>
              </a:rPr>
              <a:t> targeting a container node in the DOM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include this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 functionality individually we need tab.j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ab Plug-in Event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319313" y="1175657"/>
          <a:ext cx="8490857" cy="4717142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2119087"/>
                <a:gridCol w="3192430"/>
                <a:gridCol w="3179340"/>
              </a:tblGrid>
              <a:tr h="29195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vent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xampl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ctr">
                    <a:solidFill>
                      <a:schemeClr val="tx1"/>
                    </a:solidFill>
                  </a:tcPr>
                </a:tc>
              </a:tr>
              <a:tr h="2316677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.bs.tab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his event fires on tab show, but before the new tab has been shown. Use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vent.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and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vent.related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to target the active tab and the previous active tab (if available) respectively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a[data-toggle="tab"]').on('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.bs.tab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', function (e) {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.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// activated tab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.related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// previous tab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</a:tr>
              <a:tr h="210850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shown.bs.tab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his event fires on tab show after a tab has been shown. Use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vent.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and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vent.related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to target the active tab and the previous active tab (if available) respectively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a[data-toggle="tab"]').on('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n.bs.tab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', function (e) {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.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// activated tab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.related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// previous tab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Tab-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ooltip Plug-i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abs are used to arrange a navigational menu with links to other pages or sections of the sit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ing Tab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, we can transition through panes of local content in tabs or pills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ing the .</a:t>
            </a:r>
            <a:r>
              <a:rPr lang="en-US" i="1" dirty="0" err="1" smtClean="0">
                <a:solidFill>
                  <a:schemeClr val="tx1"/>
                </a:solidFill>
              </a:rPr>
              <a:t>nav</a:t>
            </a:r>
            <a:r>
              <a:rPr lang="en-US" dirty="0" smtClean="0">
                <a:solidFill>
                  <a:schemeClr val="tx1"/>
                </a:solidFill>
              </a:rPr>
              <a:t> and .</a:t>
            </a:r>
            <a:r>
              <a:rPr lang="en-US" i="1" dirty="0" err="1" smtClean="0">
                <a:solidFill>
                  <a:schemeClr val="tx1"/>
                </a:solidFill>
              </a:rPr>
              <a:t>nav</a:t>
            </a:r>
            <a:r>
              <a:rPr lang="en-US" i="1" dirty="0" smtClean="0">
                <a:solidFill>
                  <a:schemeClr val="tx1"/>
                </a:solidFill>
              </a:rPr>
              <a:t>-tabs</a:t>
            </a:r>
            <a:r>
              <a:rPr lang="en-US" dirty="0" smtClean="0">
                <a:solidFill>
                  <a:schemeClr val="tx1"/>
                </a:solidFill>
              </a:rPr>
              <a:t> classes to the tab </a:t>
            </a:r>
            <a:r>
              <a:rPr lang="en-US" dirty="0" err="1" smtClean="0">
                <a:solidFill>
                  <a:schemeClr val="tx1"/>
                </a:solidFill>
              </a:rPr>
              <a:t>ul</a:t>
            </a:r>
            <a:r>
              <a:rPr lang="en-US" dirty="0" smtClean="0">
                <a:solidFill>
                  <a:schemeClr val="tx1"/>
                </a:solidFill>
              </a:rPr>
              <a:t> will apply the Bootstrap tab styling, while adding the .</a:t>
            </a:r>
            <a:r>
              <a:rPr lang="en-US" i="1" dirty="0" err="1" smtClean="0">
                <a:solidFill>
                  <a:schemeClr val="tx1"/>
                </a:solidFill>
              </a:rPr>
              <a:t>nav</a:t>
            </a:r>
            <a:r>
              <a:rPr lang="en-US" dirty="0" smtClean="0">
                <a:solidFill>
                  <a:schemeClr val="tx1"/>
                </a:solidFill>
              </a:rPr>
              <a:t> and .</a:t>
            </a:r>
            <a:r>
              <a:rPr lang="en-US" i="1" dirty="0" err="1" smtClean="0">
                <a:solidFill>
                  <a:schemeClr val="tx1"/>
                </a:solidFill>
              </a:rPr>
              <a:t>nav</a:t>
            </a:r>
            <a:r>
              <a:rPr lang="en-US" i="1" dirty="0" smtClean="0">
                <a:solidFill>
                  <a:schemeClr val="tx1"/>
                </a:solidFill>
              </a:rPr>
              <a:t>-pills</a:t>
            </a:r>
            <a:r>
              <a:rPr lang="en-US" dirty="0" smtClean="0">
                <a:solidFill>
                  <a:schemeClr val="tx1"/>
                </a:solidFill>
              </a:rPr>
              <a:t> classes will apply pill styling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.tab() method activates a tab element and content container. Tab should have either a data-target or an </a:t>
            </a:r>
            <a:r>
              <a:rPr lang="en-US" dirty="0" err="1" smtClean="0">
                <a:solidFill>
                  <a:schemeClr val="tx1"/>
                </a:solidFill>
              </a:rPr>
              <a:t>href</a:t>
            </a:r>
            <a:r>
              <a:rPr lang="en-US" dirty="0" smtClean="0">
                <a:solidFill>
                  <a:schemeClr val="tx1"/>
                </a:solidFill>
              </a:rPr>
              <a:t> targeting a container node in the DOM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include this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 functionality individually we need tab.j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ab Plug-in Event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9877930"/>
              </p:ext>
            </p:extLst>
          </p:nvPr>
        </p:nvGraphicFramePr>
        <p:xfrm>
          <a:off x="319313" y="1106424"/>
          <a:ext cx="8490857" cy="4786375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2119087"/>
                <a:gridCol w="3192430"/>
                <a:gridCol w="3179340"/>
              </a:tblGrid>
              <a:tr h="29624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vent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xampl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ctr">
                    <a:solidFill>
                      <a:schemeClr val="tx1"/>
                    </a:solidFill>
                  </a:tcPr>
                </a:tc>
              </a:tr>
              <a:tr h="235067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.bs.tab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his event fires on tab show, but before the new tab has been shown. Use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vent.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and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vent.related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to target the active tab and the previous active tab (if available) respectively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a[data-toggle="tab"]').on('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.bs.tab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', function (e) {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.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// activated tab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.related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// previous tab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</a:tr>
              <a:tr h="2139455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shown.bs.tab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This event fires on tab show after a tab has been shown. Use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vent.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and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vent.related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to target the active tab and the previous active tab (if available) respectively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$('a[data-toggle="tab"]').on('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shown.bs.tab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', function (e) {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.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// activated tab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 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e.relatedTarget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// previous tab</a:t>
                      </a:r>
                    </a:p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}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9350" marR="9350" marT="9350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ooltip-Plugi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otstrap jQuery Plugi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Bootstrap comes bundled with 12 </a:t>
            </a:r>
            <a:r>
              <a:rPr lang="en-US" dirty="0" err="1" smtClean="0">
                <a:solidFill>
                  <a:schemeClr val="tx1"/>
                </a:solidFill>
              </a:rPr>
              <a:t>jQuery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lugins</a:t>
            </a:r>
            <a:r>
              <a:rPr lang="en-US" dirty="0" smtClean="0">
                <a:solidFill>
                  <a:schemeClr val="tx1"/>
                </a:solidFill>
              </a:rPr>
              <a:t> that extend the features and can add more interaction to your site.</a:t>
            </a:r>
          </a:p>
          <a:p>
            <a:pPr algn="just">
              <a:lnSpc>
                <a:spcPct val="170000"/>
              </a:lnSpc>
            </a:pPr>
            <a:r>
              <a:rPr lang="en-US" dirty="0" err="1" smtClean="0">
                <a:solidFill>
                  <a:schemeClr val="tx1"/>
                </a:solidFill>
              </a:rPr>
              <a:t>Plugins</a:t>
            </a:r>
            <a:r>
              <a:rPr lang="en-US" dirty="0" smtClean="0">
                <a:solidFill>
                  <a:schemeClr val="tx1"/>
                </a:solidFill>
              </a:rPr>
              <a:t> can be included individually (using Bootstrap's individual *.js files) or all at once (using bootstrap.js or the minified </a:t>
            </a:r>
            <a:r>
              <a:rPr lang="en-US" dirty="0" err="1" smtClean="0">
                <a:solidFill>
                  <a:schemeClr val="tx1"/>
                </a:solidFill>
              </a:rPr>
              <a:t>bootstrap.min.js</a:t>
            </a:r>
            <a:r>
              <a:rPr lang="en-US" dirty="0" smtClean="0">
                <a:solidFill>
                  <a:schemeClr val="tx1"/>
                </a:solidFill>
              </a:rPr>
              <a:t>)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th bootstrap.js and </a:t>
            </a:r>
            <a:r>
              <a:rPr lang="en-US" dirty="0" err="1" smtClean="0">
                <a:solidFill>
                  <a:schemeClr val="tx1"/>
                </a:solidFill>
              </a:rPr>
              <a:t>bootstrap.min.js</a:t>
            </a:r>
            <a:r>
              <a:rPr lang="en-US" dirty="0" smtClean="0">
                <a:solidFill>
                  <a:schemeClr val="tx1"/>
                </a:solidFill>
              </a:rPr>
              <a:t> contain all </a:t>
            </a:r>
            <a:r>
              <a:rPr lang="en-US" dirty="0" err="1" smtClean="0">
                <a:solidFill>
                  <a:schemeClr val="tx1"/>
                </a:solidFill>
              </a:rPr>
              <a:t>plugins</a:t>
            </a:r>
            <a:r>
              <a:rPr lang="en-US" dirty="0" smtClean="0">
                <a:solidFill>
                  <a:schemeClr val="tx1"/>
                </a:solidFill>
              </a:rPr>
              <a:t> in a single file. 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can use all Bootstrap </a:t>
            </a:r>
            <a:r>
              <a:rPr lang="en-US" dirty="0" err="1" smtClean="0">
                <a:solidFill>
                  <a:schemeClr val="tx1"/>
                </a:solidFill>
              </a:rPr>
              <a:t>plugins</a:t>
            </a:r>
            <a:r>
              <a:rPr lang="en-US" dirty="0" smtClean="0">
                <a:solidFill>
                  <a:schemeClr val="tx1"/>
                </a:solidFill>
              </a:rPr>
              <a:t> either through the markup API using data-* attributes without writing a single line of JavaScript or purely through the JavaScript API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disable  data attribute API and access plug-ins  through JavaScript API.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Disable all </a:t>
            </a:r>
            <a:r>
              <a:rPr lang="en-US" dirty="0" err="1" smtClean="0">
                <a:solidFill>
                  <a:schemeClr val="tx1"/>
                </a:solidFill>
              </a:rPr>
              <a:t>plugin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i="1" dirty="0" smtClean="0">
                <a:solidFill>
                  <a:schemeClr val="tx1"/>
                </a:solidFill>
              </a:rPr>
              <a:t>: </a:t>
            </a:r>
            <a:r>
              <a:rPr lang="en-US" b="1" dirty="0" smtClean="0">
                <a:solidFill>
                  <a:schemeClr val="tx1"/>
                </a:solidFill>
              </a:rPr>
              <a:t>$(document).off('.data-</a:t>
            </a:r>
            <a:r>
              <a:rPr lang="en-US" b="1" dirty="0" err="1" smtClean="0">
                <a:solidFill>
                  <a:schemeClr val="tx1"/>
                </a:solidFill>
              </a:rPr>
              <a:t>api</a:t>
            </a:r>
            <a:r>
              <a:rPr lang="en-US" b="1" dirty="0" smtClean="0">
                <a:solidFill>
                  <a:schemeClr val="tx1"/>
                </a:solidFill>
              </a:rPr>
              <a:t>')  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Disable a specific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i="1" dirty="0" smtClean="0">
                <a:solidFill>
                  <a:schemeClr val="tx1"/>
                </a:solidFill>
              </a:rPr>
              <a:t>: </a:t>
            </a:r>
            <a:r>
              <a:rPr lang="en-US" b="1" dirty="0" smtClean="0">
                <a:solidFill>
                  <a:schemeClr val="tx1"/>
                </a:solidFill>
              </a:rPr>
              <a:t>$(document).off('.</a:t>
            </a:r>
            <a:r>
              <a:rPr lang="en-US" b="1" dirty="0" err="1" smtClean="0">
                <a:solidFill>
                  <a:schemeClr val="tx1"/>
                </a:solidFill>
              </a:rPr>
              <a:t>alert.data-api</a:t>
            </a:r>
            <a:r>
              <a:rPr lang="en-US" b="1" dirty="0" smtClean="0">
                <a:solidFill>
                  <a:schemeClr val="tx1"/>
                </a:solidFill>
              </a:rPr>
              <a:t>'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</a:t>
            </a:r>
            <a:r>
              <a:rPr lang="en-US" sz="1200" dirty="0" err="1" smtClean="0"/>
              <a:t>Plug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king with Method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ll JavaScript API  methods can accept an optional options object, a string which targets a particular method, or nothing (which initiates 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 with default behavior)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initialized with default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$(selector).</a:t>
            </a:r>
            <a:r>
              <a:rPr lang="en-US" dirty="0" err="1" smtClean="0">
                <a:solidFill>
                  <a:schemeClr val="tx1"/>
                </a:solidFill>
              </a:rPr>
              <a:t>ApiMethod</a:t>
            </a:r>
            <a:r>
              <a:rPr lang="en-US" dirty="0" smtClean="0">
                <a:solidFill>
                  <a:schemeClr val="tx1"/>
                </a:solidFill>
              </a:rPr>
              <a:t>() 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initialized with Option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$(selector). </a:t>
            </a:r>
            <a:r>
              <a:rPr lang="en-US" dirty="0" err="1" smtClean="0">
                <a:solidFill>
                  <a:schemeClr val="tx1"/>
                </a:solidFill>
              </a:rPr>
              <a:t>ApiMethod</a:t>
            </a:r>
            <a:r>
              <a:rPr lang="en-US" dirty="0" smtClean="0">
                <a:solidFill>
                  <a:schemeClr val="tx1"/>
                </a:solidFill>
              </a:rPr>
              <a:t>({options}) 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initialized with methods to be invoked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$(selector).</a:t>
            </a:r>
            <a:r>
              <a:rPr lang="en-US" dirty="0" err="1" smtClean="0">
                <a:solidFill>
                  <a:schemeClr val="tx1"/>
                </a:solidFill>
              </a:rPr>
              <a:t>ApiMethod</a:t>
            </a:r>
            <a:r>
              <a:rPr lang="en-US" dirty="0" smtClean="0">
                <a:solidFill>
                  <a:schemeClr val="tx1"/>
                </a:solidFill>
              </a:rPr>
              <a:t>('</a:t>
            </a:r>
            <a:r>
              <a:rPr lang="en-US" dirty="0" err="1" smtClean="0">
                <a:solidFill>
                  <a:schemeClr val="tx1"/>
                </a:solidFill>
              </a:rPr>
              <a:t>methodName</a:t>
            </a:r>
            <a:r>
              <a:rPr lang="en-US" dirty="0" smtClean="0">
                <a:solidFill>
                  <a:schemeClr val="tx1"/>
                </a:solidFill>
              </a:rPr>
              <a:t>') 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</a:t>
            </a:r>
            <a:r>
              <a:rPr lang="en-US" sz="1200" dirty="0" err="1" smtClean="0"/>
              <a:t>Plug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king with Ev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provides custom events for most </a:t>
            </a:r>
            <a:r>
              <a:rPr lang="en-US" dirty="0" err="1" smtClean="0">
                <a:solidFill>
                  <a:schemeClr val="tx1"/>
                </a:solidFill>
              </a:rPr>
              <a:t>plugins</a:t>
            </a:r>
            <a:r>
              <a:rPr lang="en-US" dirty="0" smtClean="0">
                <a:solidFill>
                  <a:schemeClr val="tx1"/>
                </a:solidFill>
              </a:rPr>
              <a:t>' unique action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ll Bootstrap events are </a:t>
            </a:r>
            <a:r>
              <a:rPr lang="en-US" dirty="0" err="1" smtClean="0">
                <a:solidFill>
                  <a:schemeClr val="tx1"/>
                </a:solidFill>
              </a:rPr>
              <a:t>namespaced</a:t>
            </a:r>
            <a:r>
              <a:rPr lang="en-US" dirty="0" smtClean="0">
                <a:solidFill>
                  <a:schemeClr val="tx1"/>
                </a:solidFill>
              </a:rPr>
              <a:t> i.e. &lt;event&gt;.</a:t>
            </a:r>
            <a:r>
              <a:rPr lang="en-US" dirty="0" err="1" smtClean="0">
                <a:solidFill>
                  <a:schemeClr val="tx1"/>
                </a:solidFill>
              </a:rPr>
              <a:t>bs</a:t>
            </a:r>
            <a:r>
              <a:rPr lang="en-US" dirty="0" smtClean="0">
                <a:solidFill>
                  <a:schemeClr val="tx1"/>
                </a:solidFill>
              </a:rPr>
              <a:t>.&lt;component&gt; </a:t>
            </a:r>
          </a:p>
          <a:p>
            <a:pPr lvl="1" algn="just">
              <a:lnSpc>
                <a:spcPct val="170000"/>
              </a:lnSpc>
            </a:pPr>
            <a:r>
              <a:rPr lang="en-US" b="1" dirty="0" err="1" smtClean="0">
                <a:solidFill>
                  <a:schemeClr val="tx1"/>
                </a:solidFill>
              </a:rPr>
              <a:t>eg</a:t>
            </a:r>
            <a:r>
              <a:rPr lang="en-US" dirty="0" smtClean="0">
                <a:solidFill>
                  <a:schemeClr val="tx1"/>
                </a:solidFill>
              </a:rPr>
              <a:t>:  </a:t>
            </a:r>
            <a:r>
              <a:rPr lang="en-US" dirty="0" err="1" smtClean="0">
                <a:solidFill>
                  <a:schemeClr val="tx1"/>
                </a:solidFill>
              </a:rPr>
              <a:t>show.bs.modal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f (show) is triggered at the start of an event, its past participle form (shown) is triggered on the completion of an action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ransition Plug-i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ransition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 provides simple transition effect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can apply transitions on Modal, Tab, Alerts and Carousel </a:t>
            </a:r>
            <a:r>
              <a:rPr lang="en-US" dirty="0" err="1" smtClean="0">
                <a:solidFill>
                  <a:schemeClr val="tx1"/>
                </a:solidFill>
              </a:rPr>
              <a:t>plugins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hese are the classes for the different transitions: 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.fade (fade out)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.</a:t>
            </a:r>
            <a:r>
              <a:rPr lang="en-US" dirty="0" err="1" smtClean="0">
                <a:solidFill>
                  <a:schemeClr val="tx1"/>
                </a:solidFill>
              </a:rPr>
              <a:t>fade.in</a:t>
            </a:r>
            <a:r>
              <a:rPr lang="en-US" dirty="0" smtClean="0">
                <a:solidFill>
                  <a:schemeClr val="tx1"/>
                </a:solidFill>
              </a:rPr>
              <a:t> (fade in)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.collapse (collapse out)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.</a:t>
            </a:r>
            <a:r>
              <a:rPr lang="en-US" dirty="0" err="1" smtClean="0">
                <a:solidFill>
                  <a:schemeClr val="tx1"/>
                </a:solidFill>
              </a:rPr>
              <a:t>collapse.in</a:t>
            </a:r>
            <a:r>
              <a:rPr lang="en-US" dirty="0" smtClean="0">
                <a:solidFill>
                  <a:schemeClr val="tx1"/>
                </a:solidFill>
              </a:rPr>
              <a:t> (collapse in)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If you use the modal then the fade class adds animation to the modal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.fade (fade out to top 0)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.</a:t>
            </a:r>
            <a:r>
              <a:rPr lang="en-US" dirty="0" err="1" smtClean="0">
                <a:solidFill>
                  <a:schemeClr val="tx1"/>
                </a:solidFill>
              </a:rPr>
              <a:t>fade.in</a:t>
            </a:r>
            <a:r>
              <a:rPr lang="en-US" dirty="0" smtClean="0">
                <a:solidFill>
                  <a:schemeClr val="tx1"/>
                </a:solidFill>
              </a:rPr>
              <a:t> (fade in from top to 50% height)</a:t>
            </a:r>
          </a:p>
          <a:p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Modal Plug-in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 Modal dialog is a dialog that overlays the rest of the web page and take the  control of pag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 modal is a child window that is layered over its parent window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invoke the modal window, we can use a button or a link with data-toggle ="modal" along with a data-target="#identifier" or </a:t>
            </a:r>
            <a:r>
              <a:rPr lang="en-US" dirty="0" err="1" smtClean="0">
                <a:solidFill>
                  <a:schemeClr val="tx1"/>
                </a:solidFill>
              </a:rPr>
              <a:t>href</a:t>
            </a:r>
            <a:r>
              <a:rPr lang="en-US" dirty="0" smtClean="0">
                <a:solidFill>
                  <a:schemeClr val="tx1"/>
                </a:solidFill>
              </a:rPr>
              <a:t>="#identifier" to target a specific modal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here are 3 distinct parts inside a Modal: header, body and footer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o include this </a:t>
            </a:r>
            <a:r>
              <a:rPr lang="en-US" dirty="0" err="1" smtClean="0">
                <a:solidFill>
                  <a:schemeClr val="tx1"/>
                </a:solidFill>
              </a:rPr>
              <a:t>plugin</a:t>
            </a:r>
            <a:r>
              <a:rPr lang="en-US" dirty="0" smtClean="0">
                <a:solidFill>
                  <a:schemeClr val="tx1"/>
                </a:solidFill>
              </a:rPr>
              <a:t> functionality individually we need to use modal.js</a:t>
            </a:r>
          </a:p>
          <a:p>
            <a:pPr algn="just">
              <a:lnSpc>
                <a:spcPct val="170000"/>
              </a:lnSpc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Modal Plug-in option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319311" y="1045027"/>
          <a:ext cx="8389260" cy="4992663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596575"/>
                <a:gridCol w="1553029"/>
                <a:gridCol w="1567543"/>
                <a:gridCol w="3672113"/>
              </a:tblGrid>
              <a:tr h="3698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 smtClean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Options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 smtClean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fault </a:t>
                      </a:r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Valu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ata </a:t>
                      </a:r>
                      <a:r>
                        <a:rPr lang="en-US" sz="1800" b="1" u="none" strike="noStrike" dirty="0" smtClean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attribute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ctr">
                    <a:solidFill>
                      <a:schemeClr val="tx1"/>
                    </a:solidFill>
                  </a:tcPr>
                </a:tc>
              </a:tr>
              <a:tr h="544389"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backdrop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boolean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or the string 'static'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data-backdrop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specify static for a backdrop, if you don’t want the modal to be closed when the user clicks outside of the modal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</a:tr>
              <a:tr h="53760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efault: true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75588"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keyboard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boolean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ata-keyboard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Closes the modal when escape key is pressed; set to false to disable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</a:tr>
              <a:tr h="2755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efault: true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75588"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show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 err="1">
                          <a:latin typeface="Candara" pitchFamily="34" charset="0"/>
                        </a:rPr>
                        <a:t>boolean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ata-show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Shows the modal when initialized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</a:tr>
              <a:tr h="2755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efault: true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350790">
                <a:tc rowSpan="3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latin typeface="Candara" pitchFamily="34" charset="0"/>
                        </a:rPr>
                        <a:t>remot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path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rowSpan="3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ata-remot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Using the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jQuery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.load method, inject content into the modal body. If an </a:t>
                      </a:r>
                      <a:r>
                        <a:rPr lang="en-US" sz="1800" u="none" strike="noStrike" dirty="0" err="1">
                          <a:latin typeface="Candara" pitchFamily="34" charset="0"/>
                        </a:rPr>
                        <a:t>href</a:t>
                      </a:r>
                      <a:r>
                        <a:rPr lang="en-US" sz="1800" u="none" strike="noStrike" dirty="0">
                          <a:latin typeface="Candara" pitchFamily="34" charset="0"/>
                        </a:rPr>
                        <a:t> with a valid URL is added, it will load that content. An example of this is shown below: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</a:tr>
              <a:tr h="2755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latin typeface="Candara" pitchFamily="34" charset="0"/>
                        </a:rPr>
                        <a:t>Default: false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</a:tr>
              <a:tr h="76721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US" sz="1800" b="0" i="1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latin typeface="Candara" pitchFamily="34" charset="0"/>
                        </a:rPr>
                        <a:t>&lt;a data-toggle="modal" </a:t>
                      </a:r>
                      <a:r>
                        <a:rPr lang="en-US" sz="1400" u="none" strike="noStrike" dirty="0" err="1">
                          <a:latin typeface="Candara" pitchFamily="34" charset="0"/>
                        </a:rPr>
                        <a:t>href</a:t>
                      </a:r>
                      <a:r>
                        <a:rPr lang="en-US" sz="1400" u="none" strike="noStrike" dirty="0">
                          <a:latin typeface="Candara" pitchFamily="34" charset="0"/>
                        </a:rPr>
                        <a:t>="remote.html" data-target="#modal"&gt;Click me&lt;/a&gt;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ndara" pitchFamily="34" charset="0"/>
                      </a:endParaRPr>
                    </a:p>
                  </a:txBody>
                  <a:tcPr marL="6927" marR="6927" marT="6927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4.1: Bootstrap Plug-in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Modal Plug-in method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93485" y="1567541"/>
          <a:ext cx="8258631" cy="3156018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741716"/>
                <a:gridCol w="3599542"/>
                <a:gridCol w="2917373"/>
              </a:tblGrid>
              <a:tr h="59341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800" b="1" u="none" strike="noStrike" kern="1200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Method</a:t>
                      </a:r>
                      <a:endParaRPr lang="en-US" sz="1800" b="1" u="none" strike="noStrike" kern="1200" dirty="0">
                        <a:solidFill>
                          <a:schemeClr val="bg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800" b="1" u="none" strike="noStrike" kern="1200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Description</a:t>
                      </a:r>
                      <a:endParaRPr lang="en-US" sz="1800" b="1" u="none" strike="noStrike" kern="1200" dirty="0">
                        <a:solidFill>
                          <a:schemeClr val="bg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800" b="1" u="none" strike="noStrike" kern="1200" dirty="0">
                          <a:solidFill>
                            <a:schemeClr val="bg1"/>
                          </a:solidFill>
                          <a:latin typeface="Candara" pitchFamily="34" charset="0"/>
                        </a:rPr>
                        <a:t>Example</a:t>
                      </a:r>
                      <a:endParaRPr lang="en-US" sz="1800" b="1" u="none" strike="noStrike" kern="1200" dirty="0">
                        <a:solidFill>
                          <a:schemeClr val="bg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ctr">
                    <a:solidFill>
                      <a:schemeClr val="tx1"/>
                    </a:solidFill>
                  </a:tcPr>
                </a:tc>
              </a:tr>
              <a:tr h="85801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u="none" strike="noStrike" kern="1200" dirty="0" smtClean="0">
                          <a:latin typeface="Candara" pitchFamily="34" charset="0"/>
                        </a:rPr>
                        <a:t>.</a:t>
                      </a:r>
                      <a:r>
                        <a:rPr lang="en-US" sz="1800" u="none" strike="noStrike" kern="1200" dirty="0">
                          <a:latin typeface="Candara" pitchFamily="34" charset="0"/>
                        </a:rPr>
                        <a:t>modal(options)</a:t>
                      </a:r>
                      <a:endParaRPr lang="en-US" sz="18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u="none" strike="noStrike" kern="1200" dirty="0" smtClean="0">
                          <a:latin typeface="Candara" pitchFamily="34" charset="0"/>
                        </a:rPr>
                        <a:t>  Activates </a:t>
                      </a:r>
                      <a:r>
                        <a:rPr lang="en-US" sz="1800" u="none" strike="noStrike" kern="1200" dirty="0">
                          <a:latin typeface="Candara" pitchFamily="34" charset="0"/>
                        </a:rPr>
                        <a:t>your content as a modal. Accepts an </a:t>
                      </a:r>
                      <a:r>
                        <a:rPr lang="en-US" sz="1800" u="none" strike="noStrike" kern="1200" dirty="0" smtClean="0">
                          <a:latin typeface="Candara" pitchFamily="34" charset="0"/>
                        </a:rPr>
                        <a:t> optional </a:t>
                      </a:r>
                      <a:r>
                        <a:rPr lang="en-US" sz="1800" u="none" strike="noStrike" kern="1200" dirty="0">
                          <a:latin typeface="Candara" pitchFamily="34" charset="0"/>
                        </a:rPr>
                        <a:t>options object.</a:t>
                      </a:r>
                      <a:endParaRPr lang="en-US" sz="18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latin typeface="Candara" pitchFamily="34" charset="0"/>
                        </a:rPr>
                        <a:t>$('#identifier').modal({</a:t>
                      </a:r>
                    </a:p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latin typeface="Candara" pitchFamily="34" charset="0"/>
                        </a:rPr>
                        <a:t>keyboard: false</a:t>
                      </a:r>
                    </a:p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latin typeface="Candara" pitchFamily="34" charset="0"/>
                        </a:rPr>
                        <a:t>})</a:t>
                      </a:r>
                      <a:endParaRPr lang="en-US" sz="14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</a:tr>
              <a:tr h="56819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u="none" strike="noStrike" kern="1200" dirty="0" smtClean="0">
                          <a:latin typeface="Candara" pitchFamily="34" charset="0"/>
                        </a:rPr>
                        <a:t>.</a:t>
                      </a:r>
                      <a:r>
                        <a:rPr lang="en-US" sz="1800" u="none" strike="noStrike" kern="1200" dirty="0">
                          <a:latin typeface="Candara" pitchFamily="34" charset="0"/>
                        </a:rPr>
                        <a:t>modal('toggle')</a:t>
                      </a:r>
                      <a:endParaRPr lang="en-US" sz="18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u="none" strike="noStrike" kern="1200" dirty="0" smtClean="0">
                          <a:latin typeface="Candara" pitchFamily="34" charset="0"/>
                        </a:rPr>
                        <a:t> Manually </a:t>
                      </a:r>
                      <a:r>
                        <a:rPr lang="en-US" sz="1800" u="none" strike="noStrike" kern="1200" dirty="0">
                          <a:latin typeface="Candara" pitchFamily="34" charset="0"/>
                        </a:rPr>
                        <a:t>toggles a modal</a:t>
                      </a:r>
                      <a:endParaRPr lang="en-US" sz="18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latin typeface="Candara" pitchFamily="34" charset="0"/>
                        </a:rPr>
                        <a:t>$('#identifier').modal('toggle')</a:t>
                      </a:r>
                      <a:endParaRPr lang="en-US" sz="14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</a:tr>
              <a:tr h="56819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u="none" strike="noStrike" kern="1200" dirty="0" smtClean="0">
                          <a:latin typeface="Candara" pitchFamily="34" charset="0"/>
                        </a:rPr>
                        <a:t>.</a:t>
                      </a:r>
                      <a:r>
                        <a:rPr lang="en-US" sz="1800" u="none" strike="noStrike" kern="1200" dirty="0">
                          <a:latin typeface="Candara" pitchFamily="34" charset="0"/>
                        </a:rPr>
                        <a:t>modal('show')</a:t>
                      </a:r>
                      <a:endParaRPr lang="en-US" sz="18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u="none" strike="noStrike" kern="1200" dirty="0" smtClean="0">
                          <a:latin typeface="Candara" pitchFamily="34" charset="0"/>
                        </a:rPr>
                        <a:t> Manually </a:t>
                      </a:r>
                      <a:r>
                        <a:rPr lang="en-US" sz="1800" u="none" strike="noStrike" kern="1200" dirty="0">
                          <a:latin typeface="Candara" pitchFamily="34" charset="0"/>
                        </a:rPr>
                        <a:t>opens a modal</a:t>
                      </a:r>
                      <a:endParaRPr lang="en-US" sz="18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latin typeface="Candara" pitchFamily="34" charset="0"/>
                        </a:rPr>
                        <a:t>$('#identifier').modal('show')</a:t>
                      </a:r>
                      <a:endParaRPr lang="en-US" sz="14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</a:tr>
              <a:tr h="56819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u="none" strike="noStrike" kern="1200" dirty="0" smtClean="0">
                          <a:latin typeface="Candara" pitchFamily="34" charset="0"/>
                        </a:rPr>
                        <a:t>.</a:t>
                      </a:r>
                      <a:r>
                        <a:rPr lang="en-US" sz="1800" u="none" strike="noStrike" kern="1200" dirty="0">
                          <a:latin typeface="Candara" pitchFamily="34" charset="0"/>
                        </a:rPr>
                        <a:t>modal('hide')</a:t>
                      </a:r>
                      <a:endParaRPr lang="en-US" sz="18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u="none" strike="noStrike" kern="1200" dirty="0" smtClean="0">
                          <a:latin typeface="Candara" pitchFamily="34" charset="0"/>
                        </a:rPr>
                        <a:t> Manually </a:t>
                      </a:r>
                      <a:r>
                        <a:rPr lang="en-US" sz="1800" u="none" strike="noStrike" kern="1200" dirty="0">
                          <a:latin typeface="Candara" pitchFamily="34" charset="0"/>
                        </a:rPr>
                        <a:t>hides a modal</a:t>
                      </a:r>
                      <a:endParaRPr lang="en-US" sz="18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latin typeface="Candara" pitchFamily="34" charset="0"/>
                        </a:rPr>
                        <a:t>$('#identifier').modal('hide')</a:t>
                      </a:r>
                      <a:endParaRPr lang="en-US" sz="1400" u="none" strike="noStrike" kern="1200" dirty="0">
                        <a:solidFill>
                          <a:schemeClr val="tx1"/>
                        </a:solidFill>
                        <a:latin typeface="Candara" pitchFamily="34" charset="0"/>
                        <a:ea typeface="+mn-ea"/>
                        <a:cs typeface="+mn-cs"/>
                      </a:endParaRPr>
                    </a:p>
                  </a:txBody>
                  <a:tcPr marL="9236" marR="9236" marT="9236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1_Office Theme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Template</Material_x0020_Type>
    <Level xmlns="2792f03d-d3b8-434f-88d1-32c1c69d1f7a">Generic</Level>
    <Category xmlns="2792f03d-d3b8-434f-88d1-32c1c69d1f7a">Module Artifact</Category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1830C8-F522-4AF4-83DD-915E4EE23EB4}"/>
</file>

<file path=customXml/itemProps2.xml><?xml version="1.0" encoding="utf-8"?>
<ds:datastoreItem xmlns:ds="http://schemas.openxmlformats.org/officeDocument/2006/customXml" ds:itemID="{1B673CDC-8BE6-4391-ABD9-A817C61AB8C9}"/>
</file>

<file path=customXml/itemProps3.xml><?xml version="1.0" encoding="utf-8"?>
<ds:datastoreItem xmlns:ds="http://schemas.openxmlformats.org/officeDocument/2006/customXml" ds:itemID="{A717071D-384C-4508-95CC-0D1947727D8A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66</TotalTime>
  <Words>3529</Words>
  <Application>Microsoft Office PowerPoint</Application>
  <PresentationFormat>On-screen Show (4:3)</PresentationFormat>
  <Paragraphs>385</Paragraphs>
  <Slides>27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6" baseType="lpstr">
      <vt:lpstr>Arial</vt:lpstr>
      <vt:lpstr>Calibri</vt:lpstr>
      <vt:lpstr>Candara</vt:lpstr>
      <vt:lpstr>Helvetica Light</vt:lpstr>
      <vt:lpstr>ＭＳ Ｐゴシック</vt:lpstr>
      <vt:lpstr>Wingdings</vt:lpstr>
      <vt:lpstr>1_Office Theme</vt:lpstr>
      <vt:lpstr>2_Corporate Presentation Template (4x3 - Normal)</vt:lpstr>
      <vt:lpstr>think-cell Slide</vt:lpstr>
      <vt:lpstr>Bootstrap</vt:lpstr>
      <vt:lpstr>Lesson Objectives</vt:lpstr>
      <vt:lpstr>4.1: Bootstrap Plugins Bootstrap jQuery Plugins</vt:lpstr>
      <vt:lpstr>4.1: Bootstrap Plugins Working with Methods</vt:lpstr>
      <vt:lpstr>4.1: Bootstrap Plugins Working with Events</vt:lpstr>
      <vt:lpstr>4.1: Bootstrap Plug-ins Transition Plug-in</vt:lpstr>
      <vt:lpstr>4.1: Bootstrap Plug-ins Modal Plug-in</vt:lpstr>
      <vt:lpstr>4.1: Bootstrap Plug-ins Modal Plug-in options</vt:lpstr>
      <vt:lpstr>4.1: Bootstrap Plug-ins Modal Plug-in methods</vt:lpstr>
      <vt:lpstr>4.1: Bootstrap Plug-ins Modal Plug-in Events</vt:lpstr>
      <vt:lpstr>Demo</vt:lpstr>
      <vt:lpstr>4.1: Bootstrap Plug-ins Carousel Plug-in</vt:lpstr>
      <vt:lpstr>4.1: Bootstrap Plug-ins  Carousel Plug-in options</vt:lpstr>
      <vt:lpstr>4.1: Bootstrap Plug-ins Carousel Plug-in methods</vt:lpstr>
      <vt:lpstr>4.1: Bootstrap Plug-ins Carousel Plug-in Events</vt:lpstr>
      <vt:lpstr>Demo</vt:lpstr>
      <vt:lpstr>4.1: Bootstrap Plug-ins Collapse Plug-in</vt:lpstr>
      <vt:lpstr>4.1: Bootstrap Plug-ins  CollapsePlug-in options</vt:lpstr>
      <vt:lpstr>4.1: Bootstrap Plug-ins CollapsePlug-in methods</vt:lpstr>
      <vt:lpstr>4.1: Bootstrap Plug-ins Collapse Plug-in Events</vt:lpstr>
      <vt:lpstr>Demo</vt:lpstr>
      <vt:lpstr>4.1: Bootstrap Plug-ins Tab Plug-in</vt:lpstr>
      <vt:lpstr>4.1: Bootstrap Plug-ins Tab Plug-in Events</vt:lpstr>
      <vt:lpstr>Demo</vt:lpstr>
      <vt:lpstr>4.1: Bootstrap Plug-ins Tooltip Plug-in</vt:lpstr>
      <vt:lpstr>4.1: Bootstrap Plug-ins Tab Plug-in Events</vt:lpstr>
      <vt:lpstr>Demo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Introduction</dc:title>
  <dc:subject>AngularJS</dc:subject>
  <dc:creator>Karthik Muthukrishnan</dc:creator>
  <dc:description>Angular JS created by Karthik M (714709)</dc:description>
  <cp:lastModifiedBy>Vikash, Rahul</cp:lastModifiedBy>
  <cp:revision>825</cp:revision>
  <dcterms:created xsi:type="dcterms:W3CDTF">2012-05-18T02:59:15Z</dcterms:created>
  <dcterms:modified xsi:type="dcterms:W3CDTF">2017-07-10T06:5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  <property fmtid="{D5CDD505-2E9C-101B-9397-08002B2CF9AE}" pid="4" name="_SourceUrl">
    <vt:lpwstr/>
  </property>
</Properties>
</file>